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6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934958308874411"/>
          <c:y val="0.12567163355148306"/>
          <c:w val="0.77917345315760345"/>
          <c:h val="0.7308876592671684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CB-4530-8A80-D77B0F5AAC9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CB-4530-8A80-D77B0F5AAC9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CB-4530-8A80-D77B0F5AAC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68F15C-9AAC-2002-D057-F4097F8ADC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BE49A69-577B-912A-FB4D-E0A8A565CC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E49A69-577B-912A-FB4D-E0A8A565C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EF26C090-DABB-14BD-2AE5-1B6868167A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100% Stacked Bar Chart / Tex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AE661D3-C10B-3F60-F815-677D90329A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E7AFFBE8-08BE-29E0-9616-E0741FC819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CBCEEC64-A26C-533E-E072-FFEE499E93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Placeholder 12">
            <a:extLst>
              <a:ext uri="{FF2B5EF4-FFF2-40B4-BE49-F238E27FC236}">
                <a16:creationId xmlns:a16="http://schemas.microsoft.com/office/drawing/2014/main" id="{AA47515D-4232-FDFB-6665-20B78FA55CF3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DD0DFF98-C9EE-C4DF-8D4F-F6AA6F870F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853121AB-9C41-ABB4-33FD-4FCB3B1DE1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39006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1</TotalTime>
  <Words>88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100% Stacked Bar Chart / 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95</cp:revision>
  <dcterms:created xsi:type="dcterms:W3CDTF">2025-07-09T10:57:17Z</dcterms:created>
  <dcterms:modified xsi:type="dcterms:W3CDTF">2025-10-22T09:56:01Z</dcterms:modified>
  <cp:category/>
</cp:coreProperties>
</file>